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298" r:id="rId2"/>
    <p:sldId id="299" r:id="rId3"/>
    <p:sldId id="314" r:id="rId4"/>
    <p:sldId id="301" r:id="rId5"/>
    <p:sldId id="302" r:id="rId6"/>
    <p:sldId id="303" r:id="rId7"/>
    <p:sldId id="315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311" r:id="rId16"/>
    <p:sldId id="312" r:id="rId17"/>
    <p:sldId id="313" r:id="rId18"/>
    <p:sldId id="300" r:id="rId19"/>
  </p:sldIdLst>
  <p:sldSz cx="9144000" cy="5715000" type="screen16x10"/>
  <p:notesSz cx="6797675" cy="9928225"/>
  <p:custDataLst>
    <p:tags r:id="rId22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7">
          <p15:clr>
            <a:srgbClr val="A4A3A4"/>
          </p15:clr>
        </p15:guide>
        <p15:guide id="2" orient="horz" pos="3206">
          <p15:clr>
            <a:srgbClr val="A4A3A4"/>
          </p15:clr>
        </p15:guide>
        <p15:guide id="3" pos="158" userDrawn="1">
          <p15:clr>
            <a:srgbClr val="A4A3A4"/>
          </p15:clr>
        </p15:guide>
        <p15:guide id="4" pos="5465">
          <p15:clr>
            <a:srgbClr val="A4A3A4"/>
          </p15:clr>
        </p15:guide>
        <p15:guide id="5" orient="horz" pos="8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E"/>
    <a:srgbClr val="C5C2C1"/>
    <a:srgbClr val="E51C2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47" autoAdjust="0"/>
    <p:restoredTop sz="91254" autoAdjust="0"/>
  </p:normalViewPr>
  <p:slideViewPr>
    <p:cSldViewPr snapToGrid="0">
      <p:cViewPr varScale="1">
        <p:scale>
          <a:sx n="136" d="100"/>
          <a:sy n="136" d="100"/>
        </p:scale>
        <p:origin x="282" y="120"/>
      </p:cViewPr>
      <p:guideLst>
        <p:guide orient="horz" pos="1007"/>
        <p:guide orient="horz" pos="3206"/>
        <p:guide pos="158"/>
        <p:guide pos="5465"/>
        <p:guide orient="horz" pos="87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45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4194" y="263916"/>
            <a:ext cx="5851979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/>
            </a:lvl1pPr>
          </a:lstStyle>
          <a:p>
            <a:r>
              <a:rPr lang="en-US" b="1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435271" y="9530632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F86DDFF9-CB94-46A4-B1F1-24CE3BF641A9}" type="datetime1">
              <a:rPr lang="de-DE" sz="900" smtClean="0"/>
              <a:t>15.05.2018</a:t>
            </a:fld>
            <a:endParaRPr lang="en-US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64195" y="95306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300"/>
            </a:lvl1pPr>
          </a:lstStyle>
          <a:p>
            <a:r>
              <a:rPr lang="en-US" sz="900"/>
              <a:t>Universität Stuttga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215041" y="95306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300"/>
            </a:lvl1pPr>
          </a:lstStyle>
          <a:p>
            <a:pPr algn="l"/>
            <a:fld id="{EE9A79A6-2547-4C8F-B0ED-316280A1A122}" type="slidenum">
              <a:rPr lang="en-US" sz="900"/>
              <a:pPr algn="l"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561533372"/>
      </p:ext>
    </p:extLst>
  </p:cSld>
  <p:clrMap bg1="lt1" tx1="dk1" bg2="lt2" tx2="dk2" accent1="accent1" accent2="accent2" accent3="accent3" accent4="accent4" accent5="accent5" accent6="accent6" hlink="hlink" folHlink="folHlink"/>
  <p:hf/>
  <p:extLst mod="1"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63885" y="265796"/>
            <a:ext cx="5852066" cy="49813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300" b="1"/>
            </a:lvl1pPr>
          </a:lstStyle>
          <a:p>
            <a:r>
              <a:rPr lang="en-US"/>
              <a:t>Titel der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434571" y="9529534"/>
            <a:ext cx="642300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CD8F4645-02C9-4CDA-874F-5E9C9352D036}" type="datetime1">
              <a:rPr lang="de-DE" smtClean="0"/>
              <a:t>15.05.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4194" y="941334"/>
            <a:ext cx="5851979" cy="365922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5542" tIns="47771" rIns="95542" bIns="47771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4194" y="4777959"/>
            <a:ext cx="5851979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63885" y="9529534"/>
            <a:ext cx="4460416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en-US"/>
              <a:t>Universität Stuttgar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216037" y="9529534"/>
            <a:ext cx="356834" cy="1563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fld id="{05DD1DF0-DD4E-4B0C-B0FD-D16D9D2A97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8570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0975" indent="-180975" algn="l" defTabSz="713232" rtl="0" eaLnBrk="1" latinLnBrk="0" hangingPunct="1">
      <a:lnSpc>
        <a:spcPct val="120000"/>
      </a:lnSpc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38163" indent="-179388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96938" indent="-177800" algn="l" defTabSz="713232" rtl="0" eaLnBrk="1" latinLnBrk="0" hangingPunct="1">
      <a:lnSpc>
        <a:spcPct val="120000"/>
      </a:lnSpc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3" y="344528"/>
            <a:ext cx="2056867" cy="43199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" name="Title 1"/>
          <p:cNvSpPr>
            <a:spLocks noGrp="1" noChangeAspect="1"/>
          </p:cNvSpPr>
          <p:nvPr>
            <p:ph type="ctrTitle" hasCustomPrompt="1"/>
          </p:nvPr>
        </p:nvSpPr>
        <p:spPr>
          <a:xfrm>
            <a:off x="4578969" y="1004400"/>
            <a:ext cx="4320000" cy="4320000"/>
          </a:xfrm>
          <a:prstGeom prst="ellipse">
            <a:avLst/>
          </a:prstGeom>
          <a:solidFill>
            <a:schemeClr val="accent3"/>
          </a:solidFill>
        </p:spPr>
        <p:txBody>
          <a:bodyPr wrap="square" lIns="0" tIns="0" rIns="0" bIns="1260000" anchor="b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10138" y="3621600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96488" y="4075200"/>
            <a:ext cx="1274400" cy="1274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de-DE" sz="900" dirty="0"/>
              <a:t>Institut für Steuerungstechnik </a:t>
            </a:r>
            <a:br>
              <a:rPr lang="de-DE" sz="900" dirty="0"/>
            </a:br>
            <a:r>
              <a:rPr lang="de-DE" sz="900" dirty="0"/>
              <a:t>der Werkzeugmaschinen und Fertigungseinrichtungen</a:t>
            </a:r>
          </a:p>
        </p:txBody>
      </p:sp>
      <p:pic>
        <p:nvPicPr>
          <p:cNvPr id="13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2322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58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2/3 +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5292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AB6016-7C21-47CF-81C8-F86C7C19B0B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69267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3960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334DE4-3984-4210-B780-252A5B36C41B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4715688" y="1597026"/>
            <a:ext cx="3960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4715688" y="1909916"/>
            <a:ext cx="3960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2460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Dre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2628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05A80D-06C6-4291-B261-9D5725F3D8E1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2628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3258000" y="1909916"/>
            <a:ext cx="2628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58000" y="1597026"/>
            <a:ext cx="2628000" cy="239148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noProof="0" dirty="0"/>
              <a:t>Textmasterformat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7250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er 2/3+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000" y="1909916"/>
            <a:ext cx="5292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05A80D-06C6-4291-B261-9D5725F3D8E1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97026"/>
            <a:ext cx="5292000" cy="239148"/>
          </a:xfrm>
        </p:spPr>
        <p:txBody>
          <a:bodyPr lIns="0" tIns="0" rIns="0" bIns="0" anchor="t"/>
          <a:lstStyle>
            <a:lvl1pPr marL="0" indent="0">
              <a:buNone/>
              <a:defRPr lang="de-DE" sz="1400" b="0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Textmasterforma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6048000" y="1597026"/>
            <a:ext cx="2628000" cy="239148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masterforma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None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8"/>
          </p:nvPr>
        </p:nvSpPr>
        <p:spPr>
          <a:xfrm>
            <a:off x="6048000" y="1909916"/>
            <a:ext cx="2628000" cy="31796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5325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05">
          <p15:clr>
            <a:srgbClr val="FBAE40"/>
          </p15:clr>
        </p15:guide>
        <p15:guide id="2" orient="horz" pos="11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AC2CB-FA26-401F-B093-3D001A564785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841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E39D1-6CAF-4600-A586-A72C893D9FA6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760800" y="1597275"/>
            <a:ext cx="1915200" cy="34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126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21CAA-6D5C-4E4E-91A3-35145CACF7E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0" y="1597025"/>
            <a:ext cx="3960000" cy="3492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393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24000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/>
          </p:nvPr>
        </p:nvSpPr>
        <p:spPr>
          <a:xfrm>
            <a:off x="324000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>
          <a:xfrm>
            <a:off x="6480000" y="1597025"/>
            <a:ext cx="2664000" cy="411797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0" y="1597025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20"/>
          </p:nvPr>
        </p:nvSpPr>
        <p:spPr>
          <a:xfrm>
            <a:off x="0" y="3655800"/>
            <a:ext cx="3240000" cy="205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2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ECB2EA-8CF5-4B04-A32D-EFB70BFBBABF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82226" y="1605824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2226" y="2800912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2226" y="39960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837189" y="1605824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1837189" y="2800912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1837189" y="3996000"/>
            <a:ext cx="6838498" cy="108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00442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D0ABD-8DC3-4E60-A9AC-3AE83AA2DB14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6984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1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4860000" y="15970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3" name="Bildplatzhalter 7"/>
          <p:cNvSpPr>
            <a:spLocks noGrp="1" noChangeAspect="1"/>
          </p:cNvSpPr>
          <p:nvPr>
            <p:ph type="pic" sz="quarter" idx="19"/>
          </p:nvPr>
        </p:nvSpPr>
        <p:spPr>
          <a:xfrm>
            <a:off x="4860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984000" y="3397525"/>
            <a:ext cx="1692000" cy="1692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855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vie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0" y="1407600"/>
            <a:ext cx="9144000" cy="4309200"/>
          </a:xfrm>
          <a:solidFill>
            <a:schemeClr val="bg1">
              <a:lumMod val="85000"/>
            </a:schemeClr>
          </a:solidFill>
        </p:spPr>
        <p:txBody>
          <a:bodyPr lIns="72000"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Titel 13"/>
          <p:cNvSpPr>
            <a:spLocks noGrp="1" noChangeAspect="1"/>
          </p:cNvSpPr>
          <p:nvPr>
            <p:ph type="ctrTitle" hasCustomPrompt="1"/>
          </p:nvPr>
        </p:nvSpPr>
        <p:spPr>
          <a:xfrm>
            <a:off x="4572000" y="341830"/>
            <a:ext cx="4572000" cy="5373170"/>
          </a:xfrm>
          <a:custGeom>
            <a:avLst/>
            <a:gdLst>
              <a:gd name="connsiteX0" fmla="*/ 2989655 w 4572000"/>
              <a:gd name="connsiteY0" fmla="*/ 0 h 5373170"/>
              <a:gd name="connsiteX1" fmla="*/ 4570597 w 4572000"/>
              <a:gd name="connsiteY1" fmla="*/ 451729 h 5373170"/>
              <a:gd name="connsiteX2" fmla="*/ 4572000 w 4572000"/>
              <a:gd name="connsiteY2" fmla="*/ 452714 h 5373170"/>
              <a:gd name="connsiteX3" fmla="*/ 4572000 w 4572000"/>
              <a:gd name="connsiteY3" fmla="*/ 5373170 h 5373170"/>
              <a:gd name="connsiteX4" fmla="*/ 1190328 w 4572000"/>
              <a:gd name="connsiteY4" fmla="*/ 5373170 h 5373170"/>
              <a:gd name="connsiteX5" fmla="*/ 1087958 w 4572000"/>
              <a:gd name="connsiteY5" fmla="*/ 5296619 h 5373170"/>
              <a:gd name="connsiteX6" fmla="*/ 0 w 4572000"/>
              <a:gd name="connsiteY6" fmla="*/ 2989655 h 5373170"/>
              <a:gd name="connsiteX7" fmla="*/ 2989655 w 4572000"/>
              <a:gd name="connsiteY7" fmla="*/ 0 h 5373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2000" h="5373170">
                <a:moveTo>
                  <a:pt x="2989655" y="0"/>
                </a:moveTo>
                <a:cubicBezTo>
                  <a:pt x="3570135" y="0"/>
                  <a:pt x="4111974" y="165435"/>
                  <a:pt x="4570597" y="451729"/>
                </a:cubicBezTo>
                <a:lnTo>
                  <a:pt x="4572000" y="452714"/>
                </a:lnTo>
                <a:lnTo>
                  <a:pt x="4572000" y="5373170"/>
                </a:lnTo>
                <a:lnTo>
                  <a:pt x="1190328" y="5373170"/>
                </a:lnTo>
                <a:lnTo>
                  <a:pt x="1087958" y="5296619"/>
                </a:lnTo>
                <a:cubicBezTo>
                  <a:pt x="423514" y="4748273"/>
                  <a:pt x="0" y="3918422"/>
                  <a:pt x="0" y="2989655"/>
                </a:cubicBezTo>
                <a:cubicBezTo>
                  <a:pt x="0" y="1338514"/>
                  <a:pt x="1338514" y="0"/>
                  <a:pt x="2989655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lIns="720000" tIns="1620000" rIns="180000" bIns="0" anchor="t" anchorCtr="0">
            <a:noAutofit/>
          </a:bodyPr>
          <a:lstStyle>
            <a:lvl1pPr marL="0" indent="0" algn="l">
              <a:lnSpc>
                <a:spcPct val="90000"/>
              </a:lnSpc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n langen Titel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0689" y="1597025"/>
            <a:ext cx="3240688" cy="4284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00" y="3734125"/>
            <a:ext cx="1355400" cy="13554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name </a:t>
            </a:r>
            <a:br>
              <a:rPr lang="de-DE" dirty="0"/>
            </a:br>
            <a:r>
              <a:rPr lang="de-DE" dirty="0"/>
              <a:t>Nam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997529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de-DE" sz="900" dirty="0"/>
              <a:t>Institut für Steuerungstechnik </a:t>
            </a:r>
            <a:br>
              <a:rPr lang="de-DE" sz="900" dirty="0"/>
            </a:br>
            <a:r>
              <a:rPr lang="de-DE" sz="900" dirty="0"/>
              <a:t>der Werkzeugmaschinen und Fertigungseinrichtungen</a:t>
            </a:r>
          </a:p>
        </p:txBody>
      </p:sp>
      <p:pic>
        <p:nvPicPr>
          <p:cNvPr id="15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3" y="344528"/>
            <a:ext cx="2056867" cy="431998"/>
          </a:xfrm>
          <a:prstGeom prst="rect">
            <a:avLst/>
          </a:prstGeom>
        </p:spPr>
      </p:pic>
      <p:pic>
        <p:nvPicPr>
          <p:cNvPr id="16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013" y="533846"/>
            <a:ext cx="851775" cy="39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783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20DA5-D71A-4702-B1A0-264711991389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49687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19600" y="15970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Bild durch Klicken auf Symbol hinzufügen</a:t>
            </a:r>
          </a:p>
        </p:txBody>
      </p:sp>
      <p:sp>
        <p:nvSpPr>
          <p:cNvPr id="23" name="Bildplatzhalter 7"/>
          <p:cNvSpPr>
            <a:spLocks noGrp="1"/>
          </p:cNvSpPr>
          <p:nvPr>
            <p:ph type="pic" sz="quarter" idx="19"/>
          </p:nvPr>
        </p:nvSpPr>
        <p:spPr>
          <a:xfrm>
            <a:off x="4719600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0"/>
          </p:nvPr>
        </p:nvSpPr>
        <p:spPr>
          <a:xfrm>
            <a:off x="6749687" y="3397525"/>
            <a:ext cx="1926000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spcCol="28800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16527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quer + 2 Bilder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169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300AC-06C3-438D-8977-BFEF6F29CEB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21121" y="1597024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4721121" y="3397525"/>
            <a:ext cx="3960000" cy="1692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6"/>
          </p:nvPr>
        </p:nvSpPr>
        <p:spPr>
          <a:xfrm>
            <a:off x="468000" y="3397525"/>
            <a:ext cx="3960000" cy="169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485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er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476250" y="1605823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1"/>
          </p:nvPr>
        </p:nvSpPr>
        <p:spPr>
          <a:xfrm>
            <a:off x="476250" y="2897674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3"/>
          </p:nvPr>
        </p:nvSpPr>
        <p:spPr>
          <a:xfrm>
            <a:off x="476250" y="4189525"/>
            <a:ext cx="1440000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FBE72-B26B-4ECA-B479-98A54DD90916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14025" y="160582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2114025" y="2897674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25" hasCustomPrompt="1"/>
          </p:nvPr>
        </p:nvSpPr>
        <p:spPr>
          <a:xfrm>
            <a:off x="2114025" y="4189525"/>
            <a:ext cx="6561661" cy="900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21955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75244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2B61-DFF6-4F69-BAE7-6D19E1274A4D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ntertitel durch Klicken bearbeiten</a:t>
            </a:r>
          </a:p>
          <a:p>
            <a:pPr lvl="0"/>
            <a:endParaRPr lang="de-DE" dirty="0"/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735244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4715688" y="2315783"/>
            <a:ext cx="3960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5975688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953464" y="3214800"/>
            <a:ext cx="34848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953464" y="3600000"/>
            <a:ext cx="34848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3085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FAE5C-6839-4D7D-ABB7-DD1CC78F7192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106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7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3258000" y="2315783"/>
            <a:ext cx="2628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3855623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46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46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048000" y="2315784"/>
            <a:ext cx="2628000" cy="2773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6642000" y="15876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53200" y="3214800"/>
            <a:ext cx="2217600" cy="252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53200" y="3600000"/>
            <a:ext cx="2217600" cy="119425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780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466725" y="2315783"/>
            <a:ext cx="2031501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9BFEC-8972-4813-B1BF-E013084B4600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833114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00475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600475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2545454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Bildplatzhalter 7"/>
          <p:cNvSpPr>
            <a:spLocks noGrp="1" noChangeAspect="1"/>
          </p:cNvSpPr>
          <p:nvPr>
            <p:ph type="pic" sz="quarter" idx="17"/>
          </p:nvPr>
        </p:nvSpPr>
        <p:spPr>
          <a:xfrm>
            <a:off x="2904093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26" name="Textplatzhalt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2671454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671454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28" name="Rechteck 27"/>
          <p:cNvSpPr/>
          <p:nvPr userDrawn="1"/>
        </p:nvSpPr>
        <p:spPr>
          <a:xfrm>
            <a:off x="4608682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9" name="Bildplatzhalter 7"/>
          <p:cNvSpPr>
            <a:spLocks noGrp="1" noChangeAspect="1"/>
          </p:cNvSpPr>
          <p:nvPr>
            <p:ph type="pic" sz="quarter" idx="20"/>
          </p:nvPr>
        </p:nvSpPr>
        <p:spPr>
          <a:xfrm>
            <a:off x="4967320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4682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4682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6671909" y="2315783"/>
            <a:ext cx="2016000" cy="27737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3" name="Bildplatzhalter 7"/>
          <p:cNvSpPr>
            <a:spLocks noGrp="1" noChangeAspect="1"/>
          </p:cNvSpPr>
          <p:nvPr>
            <p:ph type="pic" sz="quarter" idx="23"/>
          </p:nvPr>
        </p:nvSpPr>
        <p:spPr>
          <a:xfrm>
            <a:off x="7030548" y="1587600"/>
            <a:ext cx="1298723" cy="12987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6797909" y="3214799"/>
            <a:ext cx="1764000" cy="407775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797909" y="3809772"/>
            <a:ext cx="1764000" cy="1135960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stitut und Professur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972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5200" y="2124000"/>
            <a:ext cx="1440000" cy="1440000"/>
          </a:xfrm>
          <a:prstGeom prst="ellipse">
            <a:avLst/>
          </a:prstGeom>
          <a:solidFill>
            <a:schemeClr val="bg1"/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50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dirty="0">
                <a:solidFill>
                  <a:schemeClr val="bg1"/>
                </a:solidFill>
              </a:rPr>
              <a:t>E-Mail	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dirty="0">
                <a:solidFill>
                  <a:schemeClr val="bg1"/>
                </a:solidFill>
              </a:rPr>
              <a:t>Telefon 	+49 (0) 711 685-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de-DE" dirty="0">
                <a:solidFill>
                  <a:schemeClr val="bg1"/>
                </a:solidFill>
              </a:rPr>
              <a:t>Fax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###-##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832914" y="3249157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dirty="0">
                <a:solidFill>
                  <a:schemeClr val="bg1"/>
                </a:solidFill>
              </a:rPr>
              <a:t>Universität Stuttgart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dresse eingeben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473969" y="1512000"/>
            <a:ext cx="2160000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sz="2000" b="1" dirty="0">
                <a:solidFill>
                  <a:schemeClr val="bg1"/>
                </a:solidFill>
              </a:rPr>
              <a:t>Vielen Dank!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de-DE" sz="900" dirty="0">
                <a:solidFill>
                  <a:schemeClr val="bg1"/>
                </a:solidFill>
              </a:rPr>
              <a:t>Institut für Steuerungstechnik </a:t>
            </a:r>
            <a:br>
              <a:rPr lang="de-DE" sz="900" dirty="0">
                <a:solidFill>
                  <a:schemeClr val="bg1"/>
                </a:solidFill>
              </a:rPr>
            </a:br>
            <a:r>
              <a:rPr lang="de-DE" sz="900" dirty="0">
                <a:solidFill>
                  <a:schemeClr val="bg1"/>
                </a:solidFill>
              </a:rPr>
              <a:t>der Werkzeugmaschinen und Fertigungseinrichtungen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de-DE" sz="1200" dirty="0">
                <a:solidFill>
                  <a:schemeClr val="bg1"/>
                </a:solidFill>
              </a:rPr>
              <a:t>Institut für Steuerungstechnik der Werkzeugmaschinen und Fertigungseinrichtung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2177949" y="4094092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de-DE" dirty="0">
                <a:solidFill>
                  <a:schemeClr val="bg1"/>
                </a:solidFill>
              </a:rPr>
              <a:t>Seidenstraße 36 • 70174</a:t>
            </a:r>
            <a:r>
              <a:rPr lang="de-DE" baseline="0" dirty="0">
                <a:solidFill>
                  <a:schemeClr val="bg1"/>
                </a:solidFill>
              </a:rPr>
              <a:t> Stuttgart</a:t>
            </a:r>
            <a:endParaRPr lang="de-DE" dirty="0">
              <a:solidFill>
                <a:schemeClr val="bg1"/>
              </a:solidFill>
            </a:endParaRP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baseline="0" dirty="0"/>
              <a:t> </a:t>
            </a:r>
            <a:endParaRPr lang="de-DE" dirty="0"/>
          </a:p>
        </p:txBody>
      </p:sp>
      <p:pic>
        <p:nvPicPr>
          <p:cNvPr id="19" name="Grafik 9"/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3" y="344528"/>
            <a:ext cx="2056867" cy="431998"/>
          </a:xfrm>
          <a:prstGeom prst="rect">
            <a:avLst/>
          </a:prstGeom>
        </p:spPr>
      </p:pic>
      <p:pic>
        <p:nvPicPr>
          <p:cNvPr id="23" name="Grafik 1"/>
          <p:cNvPicPr>
            <a:picLocks noChangeAspect="1"/>
          </p:cNvPicPr>
          <p:nvPr userDrawn="1"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120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ISW-Bandero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2020185"/>
            <a:ext cx="9144000" cy="1623237"/>
          </a:xfrm>
          <a:prstGeom prst="rect">
            <a:avLst/>
          </a:prstGeom>
          <a:solidFill>
            <a:srgbClr val="E51C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sp>
        <p:nvSpPr>
          <p:cNvPr id="6" name="Bildplatzhalter 7"/>
          <p:cNvSpPr>
            <a:spLocks noGrp="1" noChangeAspect="1"/>
          </p:cNvSpPr>
          <p:nvPr>
            <p:ph type="pic" sz="quarter" idx="14"/>
          </p:nvPr>
        </p:nvSpPr>
        <p:spPr>
          <a:xfrm>
            <a:off x="474193" y="2124000"/>
            <a:ext cx="1440000" cy="14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0"/>
          <a:lstStyle>
            <a:lvl1pPr marL="0" indent="0" algn="ctr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174400" y="217674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74400" y="2757600"/>
            <a:ext cx="2211862" cy="8089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dirty="0">
                <a:solidFill>
                  <a:schemeClr val="bg1"/>
                </a:solidFill>
              </a:rPr>
              <a:t>E-Mail</a:t>
            </a:r>
            <a:r>
              <a:rPr lang="de-DE" dirty="0"/>
              <a:t>	</a:t>
            </a:r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dirty="0">
                <a:solidFill>
                  <a:schemeClr val="bg1"/>
                </a:solidFill>
              </a:rPr>
              <a:t>Telefon 	+49 (0) 711 685-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de-DE" dirty="0">
                <a:solidFill>
                  <a:schemeClr val="bg1"/>
                </a:solidFill>
              </a:rPr>
              <a:t>Fax 	+49 (0) 711 685-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32914" y="3001893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###-##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832914" y="3249157"/>
            <a:ext cx="649267" cy="23833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###-##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2174400" y="3693600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dirty="0"/>
              <a:t>Universität Stuttgart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717045" y="2757117"/>
            <a:ext cx="2747409" cy="216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dresse eingeben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466883" y="1512000"/>
            <a:ext cx="2160000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sz="2000" b="1" dirty="0"/>
              <a:t>Vielen Dank!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996042" y="681643"/>
            <a:ext cx="3940232" cy="415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1"/>
              </a:buClr>
              <a:buFontTx/>
              <a:buNone/>
            </a:pPr>
            <a:r>
              <a:rPr lang="de-DE" sz="900" dirty="0"/>
              <a:t>Institut für Steuerungstechnik </a:t>
            </a:r>
            <a:br>
              <a:rPr lang="de-DE" sz="900" dirty="0"/>
            </a:br>
            <a:r>
              <a:rPr lang="de-DE" sz="900" dirty="0"/>
              <a:t>der Werkzeugmaschinen und Fertigungseinrichtungen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2177950" y="3888528"/>
            <a:ext cx="5945324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indent="0">
              <a:buClr>
                <a:schemeClr val="accent1"/>
              </a:buClr>
              <a:buFontTx/>
              <a:buNone/>
            </a:pPr>
            <a:r>
              <a:rPr lang="de-DE" sz="1200" dirty="0"/>
              <a:t>Institut für Steuerungstechnik der Werkzeugmaschinen und Fertigungseinrichtung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2177949" y="4094092"/>
            <a:ext cx="2500012" cy="218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685800">
              <a:lnSpc>
                <a:spcPct val="120000"/>
              </a:lnSpc>
              <a:spcBef>
                <a:spcPts val="75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49263" indent="-27305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2pPr>
            <a:lvl3pPr marL="715963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3pPr>
            <a:lvl4pPr marL="987425" indent="-271463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4pPr>
            <a:lvl5pPr marL="1254125" indent="-266700" defTabSz="685800">
              <a:lnSpc>
                <a:spcPct val="120000"/>
              </a:lnSpc>
              <a:spcBef>
                <a:spcPts val="375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2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>
                <a:tab pos="541338" algn="l"/>
              </a:tabLst>
              <a:defRPr/>
            </a:pPr>
            <a:r>
              <a:rPr lang="de-DE" dirty="0"/>
              <a:t>Seidenstraße 36 • 70174</a:t>
            </a:r>
            <a:r>
              <a:rPr lang="de-DE" baseline="0" dirty="0"/>
              <a:t> Stuttgart</a:t>
            </a:r>
            <a:endParaRPr lang="de-DE" dirty="0"/>
          </a:p>
          <a:p>
            <a:pPr lvl="0">
              <a:spcBef>
                <a:spcPts val="200"/>
              </a:spcBef>
              <a:spcAft>
                <a:spcPts val="0"/>
              </a:spcAft>
              <a:tabLst>
                <a:tab pos="541338" algn="l"/>
              </a:tabLst>
            </a:pPr>
            <a:r>
              <a:rPr lang="de-DE" baseline="0" dirty="0"/>
              <a:t> 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2177949" y="2463826"/>
            <a:ext cx="3290054" cy="2160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49618" y="5089525"/>
            <a:ext cx="9094381" cy="625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pic>
        <p:nvPicPr>
          <p:cNvPr id="2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03" y="344528"/>
            <a:ext cx="2056867" cy="431998"/>
          </a:xfrm>
          <a:prstGeom prst="rect">
            <a:avLst/>
          </a:prstGeom>
        </p:spPr>
      </p:pic>
      <p:pic>
        <p:nvPicPr>
          <p:cNvPr id="23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913" y="533846"/>
            <a:ext cx="851775" cy="397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696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B9E14F-C397-45CE-A8CF-5AF4B58A5C91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b="1" smtClean="0"/>
              <a:t>Titel der Präsentation | Name</a:t>
            </a:r>
            <a:endParaRPr lang="de-DE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3360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375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58000" y="5547038"/>
            <a:ext cx="532800" cy="89255"/>
          </a:xfrm>
        </p:spPr>
        <p:txBody>
          <a:bodyPr/>
          <a:lstStyle>
            <a:lvl1pPr>
              <a:defRPr sz="580"/>
            </a:lvl1pPr>
          </a:lstStyle>
          <a:p>
            <a:fld id="{D06FEB33-183A-4BE7-89AA-0BD131C105DC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45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8" name="bk object 17"/>
          <p:cNvSpPr/>
          <p:nvPr userDrawn="1"/>
        </p:nvSpPr>
        <p:spPr>
          <a:xfrm>
            <a:off x="1279949" y="0"/>
            <a:ext cx="6544309" cy="3926204"/>
          </a:xfrm>
          <a:custGeom>
            <a:avLst/>
            <a:gdLst/>
            <a:ahLst/>
            <a:cxnLst/>
            <a:rect l="l" t="t" r="r" b="b"/>
            <a:pathLst>
              <a:path w="6544309" h="3926204">
                <a:moveTo>
                  <a:pt x="68016" y="0"/>
                </a:moveTo>
                <a:lnTo>
                  <a:pt x="42823" y="123182"/>
                </a:lnTo>
                <a:lnTo>
                  <a:pt x="10846" y="385553"/>
                </a:lnTo>
                <a:lnTo>
                  <a:pt x="0" y="653897"/>
                </a:lnTo>
                <a:lnTo>
                  <a:pt x="10846" y="922242"/>
                </a:lnTo>
                <a:lnTo>
                  <a:pt x="42823" y="1184612"/>
                </a:lnTo>
                <a:lnTo>
                  <a:pt x="95089" y="1440166"/>
                </a:lnTo>
                <a:lnTo>
                  <a:pt x="166802" y="1688062"/>
                </a:lnTo>
                <a:lnTo>
                  <a:pt x="257120" y="1927457"/>
                </a:lnTo>
                <a:lnTo>
                  <a:pt x="365200" y="2157510"/>
                </a:lnTo>
                <a:lnTo>
                  <a:pt x="490201" y="2377378"/>
                </a:lnTo>
                <a:lnTo>
                  <a:pt x="631281" y="2586220"/>
                </a:lnTo>
                <a:lnTo>
                  <a:pt x="787597" y="2783193"/>
                </a:lnTo>
                <a:lnTo>
                  <a:pt x="958308" y="2967456"/>
                </a:lnTo>
                <a:lnTo>
                  <a:pt x="1142571" y="3138167"/>
                </a:lnTo>
                <a:lnTo>
                  <a:pt x="1339545" y="3294482"/>
                </a:lnTo>
                <a:lnTo>
                  <a:pt x="1548387" y="3435561"/>
                </a:lnTo>
                <a:lnTo>
                  <a:pt x="1768256" y="3560562"/>
                </a:lnTo>
                <a:lnTo>
                  <a:pt x="1998308" y="3668642"/>
                </a:lnTo>
                <a:lnTo>
                  <a:pt x="2237703" y="3758959"/>
                </a:lnTo>
                <a:lnTo>
                  <a:pt x="2485598" y="3830671"/>
                </a:lnTo>
                <a:lnTo>
                  <a:pt x="2741151" y="3882937"/>
                </a:lnTo>
                <a:lnTo>
                  <a:pt x="3003520" y="3914914"/>
                </a:lnTo>
                <a:lnTo>
                  <a:pt x="3271862" y="3925760"/>
                </a:lnTo>
                <a:lnTo>
                  <a:pt x="3540207" y="3914914"/>
                </a:lnTo>
                <a:lnTo>
                  <a:pt x="3802577" y="3882937"/>
                </a:lnTo>
                <a:lnTo>
                  <a:pt x="4058131" y="3830671"/>
                </a:lnTo>
                <a:lnTo>
                  <a:pt x="4306027" y="3758959"/>
                </a:lnTo>
                <a:lnTo>
                  <a:pt x="4545422" y="3668642"/>
                </a:lnTo>
                <a:lnTo>
                  <a:pt x="4775475" y="3560562"/>
                </a:lnTo>
                <a:lnTo>
                  <a:pt x="4995343" y="3435561"/>
                </a:lnTo>
                <a:lnTo>
                  <a:pt x="5204185" y="3294482"/>
                </a:lnTo>
                <a:lnTo>
                  <a:pt x="5401159" y="3138167"/>
                </a:lnTo>
                <a:lnTo>
                  <a:pt x="5585421" y="2967456"/>
                </a:lnTo>
                <a:lnTo>
                  <a:pt x="5756132" y="2783193"/>
                </a:lnTo>
                <a:lnTo>
                  <a:pt x="5912448" y="2586220"/>
                </a:lnTo>
                <a:lnTo>
                  <a:pt x="6053527" y="2377378"/>
                </a:lnTo>
                <a:lnTo>
                  <a:pt x="6178527" y="2157510"/>
                </a:lnTo>
                <a:lnTo>
                  <a:pt x="6286607" y="1927457"/>
                </a:lnTo>
                <a:lnTo>
                  <a:pt x="6376924" y="1688062"/>
                </a:lnTo>
                <a:lnTo>
                  <a:pt x="6448637" y="1440166"/>
                </a:lnTo>
                <a:lnTo>
                  <a:pt x="6500902" y="1184612"/>
                </a:lnTo>
                <a:lnTo>
                  <a:pt x="6532879" y="922242"/>
                </a:lnTo>
                <a:lnTo>
                  <a:pt x="6543725" y="653897"/>
                </a:lnTo>
                <a:lnTo>
                  <a:pt x="6532879" y="385553"/>
                </a:lnTo>
                <a:lnTo>
                  <a:pt x="6500902" y="123182"/>
                </a:lnTo>
                <a:lnTo>
                  <a:pt x="6475709" y="0"/>
                </a:lnTo>
                <a:lnTo>
                  <a:pt x="68016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900000"/>
            <a:ext cx="4956195" cy="2225972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629826"/>
            <a:ext cx="4118110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Kapitel</a:t>
            </a:r>
          </a:p>
        </p:txBody>
      </p:sp>
    </p:spTree>
    <p:extLst>
      <p:ext uri="{BB962C8B-B14F-4D97-AF65-F5344CB8AC3E}">
        <p14:creationId xmlns:p14="http://schemas.microsoft.com/office/powerpoint/2010/main" val="2710761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Unterkap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2799" y="2250000"/>
            <a:ext cx="5526581" cy="90000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22800" y="1944000"/>
            <a:ext cx="3026729" cy="221599"/>
          </a:xfrm>
        </p:spPr>
        <p:txBody>
          <a:bodyPr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kapitel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5089525"/>
            <a:ext cx="9144000" cy="6254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178261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410148" y="0"/>
            <a:ext cx="7198359" cy="4796155"/>
          </a:xfrm>
          <a:custGeom>
            <a:avLst/>
            <a:gdLst/>
            <a:ahLst/>
            <a:cxnLst/>
            <a:rect l="l" t="t" r="r" b="b"/>
            <a:pathLst>
              <a:path w="7198359" h="4796155">
                <a:moveTo>
                  <a:pt x="6992384" y="0"/>
                </a:moveTo>
                <a:lnTo>
                  <a:pt x="205721" y="0"/>
                </a:lnTo>
                <a:lnTo>
                  <a:pt x="183482" y="58947"/>
                </a:lnTo>
                <a:lnTo>
                  <a:pt x="104598" y="331632"/>
                </a:lnTo>
                <a:lnTo>
                  <a:pt x="47105" y="612741"/>
                </a:lnTo>
                <a:lnTo>
                  <a:pt x="11930" y="901348"/>
                </a:lnTo>
                <a:lnTo>
                  <a:pt x="0" y="1196526"/>
                </a:lnTo>
                <a:lnTo>
                  <a:pt x="11930" y="1491704"/>
                </a:lnTo>
                <a:lnTo>
                  <a:pt x="47105" y="1780311"/>
                </a:lnTo>
                <a:lnTo>
                  <a:pt x="104598" y="2061420"/>
                </a:lnTo>
                <a:lnTo>
                  <a:pt x="183482" y="2334105"/>
                </a:lnTo>
                <a:lnTo>
                  <a:pt x="282831" y="2597440"/>
                </a:lnTo>
                <a:lnTo>
                  <a:pt x="401719" y="2850498"/>
                </a:lnTo>
                <a:lnTo>
                  <a:pt x="539220" y="3092354"/>
                </a:lnTo>
                <a:lnTo>
                  <a:pt x="694408" y="3322080"/>
                </a:lnTo>
                <a:lnTo>
                  <a:pt x="866356" y="3538751"/>
                </a:lnTo>
                <a:lnTo>
                  <a:pt x="1054138" y="3741441"/>
                </a:lnTo>
                <a:lnTo>
                  <a:pt x="1256827" y="3929223"/>
                </a:lnTo>
                <a:lnTo>
                  <a:pt x="1473498" y="4101171"/>
                </a:lnTo>
                <a:lnTo>
                  <a:pt x="1703225" y="4256358"/>
                </a:lnTo>
                <a:lnTo>
                  <a:pt x="1945080" y="4393859"/>
                </a:lnTo>
                <a:lnTo>
                  <a:pt x="2198139" y="4512748"/>
                </a:lnTo>
                <a:lnTo>
                  <a:pt x="2461473" y="4612097"/>
                </a:lnTo>
                <a:lnTo>
                  <a:pt x="2734158" y="4690981"/>
                </a:lnTo>
                <a:lnTo>
                  <a:pt x="3015267" y="4748474"/>
                </a:lnTo>
                <a:lnTo>
                  <a:pt x="3303874" y="4783648"/>
                </a:lnTo>
                <a:lnTo>
                  <a:pt x="3599053" y="4795579"/>
                </a:lnTo>
                <a:lnTo>
                  <a:pt x="3894231" y="4783648"/>
                </a:lnTo>
                <a:lnTo>
                  <a:pt x="4182838" y="4748474"/>
                </a:lnTo>
                <a:lnTo>
                  <a:pt x="4463947" y="4690981"/>
                </a:lnTo>
                <a:lnTo>
                  <a:pt x="4736632" y="4612097"/>
                </a:lnTo>
                <a:lnTo>
                  <a:pt x="4999966" y="4512748"/>
                </a:lnTo>
                <a:lnTo>
                  <a:pt x="5253025" y="4393859"/>
                </a:lnTo>
                <a:lnTo>
                  <a:pt x="5494880" y="4256358"/>
                </a:lnTo>
                <a:lnTo>
                  <a:pt x="5724607" y="4101171"/>
                </a:lnTo>
                <a:lnTo>
                  <a:pt x="5941278" y="3929223"/>
                </a:lnTo>
                <a:lnTo>
                  <a:pt x="6143967" y="3741441"/>
                </a:lnTo>
                <a:lnTo>
                  <a:pt x="6331749" y="3538751"/>
                </a:lnTo>
                <a:lnTo>
                  <a:pt x="6503697" y="3322080"/>
                </a:lnTo>
                <a:lnTo>
                  <a:pt x="6658885" y="3092354"/>
                </a:lnTo>
                <a:lnTo>
                  <a:pt x="6796386" y="2850498"/>
                </a:lnTo>
                <a:lnTo>
                  <a:pt x="6915274" y="2597440"/>
                </a:lnTo>
                <a:lnTo>
                  <a:pt x="7014623" y="2334105"/>
                </a:lnTo>
                <a:lnTo>
                  <a:pt x="7093507" y="2061420"/>
                </a:lnTo>
                <a:lnTo>
                  <a:pt x="7151000" y="1780311"/>
                </a:lnTo>
                <a:lnTo>
                  <a:pt x="7186175" y="1491704"/>
                </a:lnTo>
                <a:lnTo>
                  <a:pt x="7198106" y="1196526"/>
                </a:lnTo>
                <a:lnTo>
                  <a:pt x="7186175" y="901348"/>
                </a:lnTo>
                <a:lnTo>
                  <a:pt x="7151000" y="612741"/>
                </a:lnTo>
                <a:lnTo>
                  <a:pt x="7093507" y="331632"/>
                </a:lnTo>
                <a:lnTo>
                  <a:pt x="7014623" y="58947"/>
                </a:lnTo>
                <a:lnTo>
                  <a:pt x="699238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>
              <a:lnSpc>
                <a:spcPct val="120000"/>
              </a:lnSpc>
            </a:pPr>
            <a:endParaRPr lang="de-DE" dirty="0"/>
          </a:p>
        </p:txBody>
      </p:sp>
      <p:sp>
        <p:nvSpPr>
          <p:cNvPr id="6" name="object 3"/>
          <p:cNvSpPr/>
          <p:nvPr userDrawn="1"/>
        </p:nvSpPr>
        <p:spPr>
          <a:xfrm>
            <a:off x="5559362" y="3040401"/>
            <a:ext cx="2049145" cy="2049145"/>
          </a:xfrm>
          <a:custGeom>
            <a:avLst/>
            <a:gdLst/>
            <a:ahLst/>
            <a:cxnLst/>
            <a:rect l="l" t="t" r="r" b="b"/>
            <a:pathLst>
              <a:path w="2049145" h="2049145">
                <a:moveTo>
                  <a:pt x="1024432" y="0"/>
                </a:moveTo>
                <a:lnTo>
                  <a:pt x="940414" y="3395"/>
                </a:lnTo>
                <a:lnTo>
                  <a:pt x="858266" y="13407"/>
                </a:lnTo>
                <a:lnTo>
                  <a:pt x="778251" y="29772"/>
                </a:lnTo>
                <a:lnTo>
                  <a:pt x="700635" y="52225"/>
                </a:lnTo>
                <a:lnTo>
                  <a:pt x="625679" y="80504"/>
                </a:lnTo>
                <a:lnTo>
                  <a:pt x="553649" y="114344"/>
                </a:lnTo>
                <a:lnTo>
                  <a:pt x="484808" y="153482"/>
                </a:lnTo>
                <a:lnTo>
                  <a:pt x="419418" y="197654"/>
                </a:lnTo>
                <a:lnTo>
                  <a:pt x="357745" y="246597"/>
                </a:lnTo>
                <a:lnTo>
                  <a:pt x="300051" y="300047"/>
                </a:lnTo>
                <a:lnTo>
                  <a:pt x="246601" y="357740"/>
                </a:lnTo>
                <a:lnTo>
                  <a:pt x="197657" y="419413"/>
                </a:lnTo>
                <a:lnTo>
                  <a:pt x="153485" y="484802"/>
                </a:lnTo>
                <a:lnTo>
                  <a:pt x="114346" y="553644"/>
                </a:lnTo>
                <a:lnTo>
                  <a:pt x="80505" y="625674"/>
                </a:lnTo>
                <a:lnTo>
                  <a:pt x="52226" y="700630"/>
                </a:lnTo>
                <a:lnTo>
                  <a:pt x="29773" y="778247"/>
                </a:lnTo>
                <a:lnTo>
                  <a:pt x="13408" y="858262"/>
                </a:lnTo>
                <a:lnTo>
                  <a:pt x="3396" y="940412"/>
                </a:lnTo>
                <a:lnTo>
                  <a:pt x="0" y="1024432"/>
                </a:lnTo>
                <a:lnTo>
                  <a:pt x="3396" y="1108453"/>
                </a:lnTo>
                <a:lnTo>
                  <a:pt x="13408" y="1190602"/>
                </a:lnTo>
                <a:lnTo>
                  <a:pt x="29773" y="1270617"/>
                </a:lnTo>
                <a:lnTo>
                  <a:pt x="52226" y="1348235"/>
                </a:lnTo>
                <a:lnTo>
                  <a:pt x="80505" y="1423190"/>
                </a:lnTo>
                <a:lnTo>
                  <a:pt x="114346" y="1495221"/>
                </a:lnTo>
                <a:lnTo>
                  <a:pt x="153485" y="1564063"/>
                </a:lnTo>
                <a:lnTo>
                  <a:pt x="197657" y="1629452"/>
                </a:lnTo>
                <a:lnTo>
                  <a:pt x="246601" y="1691125"/>
                </a:lnTo>
                <a:lnTo>
                  <a:pt x="300051" y="1748818"/>
                </a:lnTo>
                <a:lnTo>
                  <a:pt x="357745" y="1802268"/>
                </a:lnTo>
                <a:lnTo>
                  <a:pt x="419418" y="1851211"/>
                </a:lnTo>
                <a:lnTo>
                  <a:pt x="484808" y="1895383"/>
                </a:lnTo>
                <a:lnTo>
                  <a:pt x="553649" y="1934521"/>
                </a:lnTo>
                <a:lnTo>
                  <a:pt x="625679" y="1968361"/>
                </a:lnTo>
                <a:lnTo>
                  <a:pt x="700635" y="1996639"/>
                </a:lnTo>
                <a:lnTo>
                  <a:pt x="778251" y="2019093"/>
                </a:lnTo>
                <a:lnTo>
                  <a:pt x="858266" y="2035457"/>
                </a:lnTo>
                <a:lnTo>
                  <a:pt x="940414" y="2045469"/>
                </a:lnTo>
                <a:lnTo>
                  <a:pt x="1024432" y="2048865"/>
                </a:lnTo>
                <a:lnTo>
                  <a:pt x="1108453" y="2045469"/>
                </a:lnTo>
                <a:lnTo>
                  <a:pt x="1190602" y="2035457"/>
                </a:lnTo>
                <a:lnTo>
                  <a:pt x="1270617" y="2019093"/>
                </a:lnTo>
                <a:lnTo>
                  <a:pt x="1348235" y="1996639"/>
                </a:lnTo>
                <a:lnTo>
                  <a:pt x="1423190" y="1968361"/>
                </a:lnTo>
                <a:lnTo>
                  <a:pt x="1495221" y="1934521"/>
                </a:lnTo>
                <a:lnTo>
                  <a:pt x="1564063" y="1895383"/>
                </a:lnTo>
                <a:lnTo>
                  <a:pt x="1629452" y="1851211"/>
                </a:lnTo>
                <a:lnTo>
                  <a:pt x="1691125" y="1802268"/>
                </a:lnTo>
                <a:lnTo>
                  <a:pt x="1748818" y="1748818"/>
                </a:lnTo>
                <a:lnTo>
                  <a:pt x="1802268" y="1691125"/>
                </a:lnTo>
                <a:lnTo>
                  <a:pt x="1851211" y="1629452"/>
                </a:lnTo>
                <a:lnTo>
                  <a:pt x="1895383" y="1564063"/>
                </a:lnTo>
                <a:lnTo>
                  <a:pt x="1934521" y="1495221"/>
                </a:lnTo>
                <a:lnTo>
                  <a:pt x="1968361" y="1423190"/>
                </a:lnTo>
                <a:lnTo>
                  <a:pt x="1996639" y="1348235"/>
                </a:lnTo>
                <a:lnTo>
                  <a:pt x="2019093" y="1270617"/>
                </a:lnTo>
                <a:lnTo>
                  <a:pt x="2035457" y="1190602"/>
                </a:lnTo>
                <a:lnTo>
                  <a:pt x="2045469" y="1108453"/>
                </a:lnTo>
                <a:lnTo>
                  <a:pt x="2048865" y="1024432"/>
                </a:lnTo>
                <a:lnTo>
                  <a:pt x="2045469" y="940412"/>
                </a:lnTo>
                <a:lnTo>
                  <a:pt x="2035457" y="858262"/>
                </a:lnTo>
                <a:lnTo>
                  <a:pt x="2019093" y="778247"/>
                </a:lnTo>
                <a:lnTo>
                  <a:pt x="1996639" y="700630"/>
                </a:lnTo>
                <a:lnTo>
                  <a:pt x="1968361" y="625674"/>
                </a:lnTo>
                <a:lnTo>
                  <a:pt x="1934521" y="553644"/>
                </a:lnTo>
                <a:lnTo>
                  <a:pt x="1895383" y="484802"/>
                </a:lnTo>
                <a:lnTo>
                  <a:pt x="1851211" y="419413"/>
                </a:lnTo>
                <a:lnTo>
                  <a:pt x="1802268" y="357740"/>
                </a:lnTo>
                <a:lnTo>
                  <a:pt x="1748818" y="300047"/>
                </a:lnTo>
                <a:lnTo>
                  <a:pt x="1691125" y="246597"/>
                </a:lnTo>
                <a:lnTo>
                  <a:pt x="1629452" y="197654"/>
                </a:lnTo>
                <a:lnTo>
                  <a:pt x="1564063" y="153482"/>
                </a:lnTo>
                <a:lnTo>
                  <a:pt x="1495221" y="114344"/>
                </a:lnTo>
                <a:lnTo>
                  <a:pt x="1423190" y="80504"/>
                </a:lnTo>
                <a:lnTo>
                  <a:pt x="1348235" y="52225"/>
                </a:lnTo>
                <a:lnTo>
                  <a:pt x="1270617" y="29772"/>
                </a:lnTo>
                <a:lnTo>
                  <a:pt x="1190602" y="13407"/>
                </a:lnTo>
                <a:lnTo>
                  <a:pt x="1108453" y="3395"/>
                </a:lnTo>
                <a:lnTo>
                  <a:pt x="10244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de-DE" dirty="0"/>
          </a:p>
        </p:txBody>
      </p:sp>
      <p:sp>
        <p:nvSpPr>
          <p:cNvPr id="7" name="object 8"/>
          <p:cNvSpPr txBox="1"/>
          <p:nvPr userDrawn="1"/>
        </p:nvSpPr>
        <p:spPr>
          <a:xfrm>
            <a:off x="5907214" y="1625721"/>
            <a:ext cx="1295400" cy="30649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895"/>
              </a:lnSpc>
            </a:pPr>
            <a:r>
              <a:rPr lang="de-DE" sz="20000" b="1" dirty="0">
                <a:solidFill>
                  <a:srgbClr val="BFBFBF"/>
                </a:solidFill>
                <a:latin typeface="Arial"/>
                <a:cs typeface="Arial"/>
              </a:rPr>
              <a:t>„</a:t>
            </a:r>
            <a:endParaRPr lang="de-DE" sz="20000" dirty="0">
              <a:latin typeface="Arial"/>
              <a:cs typeface="Arial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95600" y="936000"/>
            <a:ext cx="4834626" cy="1852276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b="1" baseline="0">
                <a:solidFill>
                  <a:schemeClr val="bg1"/>
                </a:solidFill>
              </a:defRPr>
            </a:lvl1pPr>
            <a:lvl2pPr>
              <a:defRPr sz="3400" b="1">
                <a:solidFill>
                  <a:schemeClr val="bg1"/>
                </a:solidFill>
              </a:defRPr>
            </a:lvl2pPr>
            <a:lvl3pPr>
              <a:defRPr sz="3400" b="1">
                <a:solidFill>
                  <a:schemeClr val="bg1"/>
                </a:solidFill>
              </a:defRPr>
            </a:lvl3pPr>
            <a:lvl4pPr>
              <a:defRPr sz="3400" b="1">
                <a:solidFill>
                  <a:schemeClr val="bg1"/>
                </a:solidFill>
              </a:defRPr>
            </a:lvl4pPr>
            <a:lvl5pPr>
              <a:defRPr sz="3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itat durch Klicken hinzufü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695600" y="3024000"/>
            <a:ext cx="3805721" cy="46399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5089525"/>
            <a:ext cx="9144000" cy="625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376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7463F-ED4F-444A-908F-24B7B78CBDDC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716400"/>
            <a:ext cx="6789011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715688" y="1597025"/>
            <a:ext cx="3960000" cy="26455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4715688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3" y="396000"/>
            <a:ext cx="6788698" cy="278290"/>
          </a:xfrm>
        </p:spPr>
        <p:txBody>
          <a:bodyPr/>
          <a:lstStyle/>
          <a:p>
            <a:r>
              <a:rPr lang="de-DE" dirty="0"/>
              <a:t>Projektakronym – Projekttitel durch Klicken bearbeit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724775" y="391479"/>
            <a:ext cx="950913" cy="601146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Logo einfügen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62357" y="4414838"/>
            <a:ext cx="1139352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7409027" y="4414838"/>
            <a:ext cx="1266661" cy="674687"/>
          </a:xfrm>
          <a:noFill/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Partnerlogo</a:t>
            </a:r>
          </a:p>
        </p:txBody>
      </p:sp>
    </p:spTree>
    <p:extLst>
      <p:ext uri="{BB962C8B-B14F-4D97-AF65-F5344CB8AC3E}">
        <p14:creationId xmlns:p14="http://schemas.microsoft.com/office/powerpoint/2010/main" val="14412058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3960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5688" y="1597025"/>
            <a:ext cx="3960000" cy="349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D7CF8-BC19-4742-8A27-5495E05B7229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624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000" y="1597025"/>
            <a:ext cx="2628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8000" y="1597212"/>
            <a:ext cx="2628000" cy="349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AB6016-7C21-47CF-81C8-F86C7C19B0B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5"/>
          </p:nvPr>
        </p:nvSpPr>
        <p:spPr>
          <a:xfrm>
            <a:off x="3258000" y="1596900"/>
            <a:ext cx="2628000" cy="349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716400"/>
            <a:ext cx="8208000" cy="276225"/>
          </a:xfrm>
        </p:spPr>
        <p:txBody>
          <a:bodyPr lIns="0" tIns="0" rIns="0" bIns="0"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3073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9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99" y="5309349"/>
            <a:ext cx="1149427" cy="24141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13" y="396000"/>
            <a:ext cx="8207375" cy="2782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3" y="1598400"/>
            <a:ext cx="8207375" cy="349250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59619" y="5547037"/>
            <a:ext cx="532800" cy="9233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580" smtClean="0"/>
            </a:lvl1pPr>
          </a:lstStyle>
          <a:p>
            <a:fld id="{987324F3-2207-4681-8C3F-12BD0A34A14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313" y="5379747"/>
            <a:ext cx="5161442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b="1" smtClean="0"/>
              <a:t>Titel der Präsentation | Name</a:t>
            </a:r>
            <a:endParaRPr lang="de-DE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313" y="5212456"/>
            <a:ext cx="2232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9E82CC3C-1DC0-4FDA-9590-6CC506AB67F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468313" y="5547037"/>
            <a:ext cx="1257706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71323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580" b="0" dirty="0"/>
              <a:t>©</a:t>
            </a:r>
            <a:r>
              <a:rPr lang="de-DE" sz="580" b="0" baseline="0" dirty="0"/>
              <a:t> ISW Universität Stuttgart </a:t>
            </a:r>
            <a:endParaRPr lang="de-DE" sz="580" b="0" dirty="0"/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468313" y="5153247"/>
            <a:ext cx="8207375" cy="0"/>
          </a:xfrm>
          <a:prstGeom prst="line">
            <a:avLst/>
          </a:prstGeom>
          <a:ln w="9525">
            <a:solidFill>
              <a:srgbClr val="E51C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385" y="5485092"/>
            <a:ext cx="218303" cy="10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6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2" r:id="rId3"/>
    <p:sldLayoutId id="2147483663" r:id="rId4"/>
    <p:sldLayoutId id="2147483676" r:id="rId5"/>
    <p:sldLayoutId id="2147483680" r:id="rId6"/>
    <p:sldLayoutId id="2147483689" r:id="rId7"/>
    <p:sldLayoutId id="2147483664" r:id="rId8"/>
    <p:sldLayoutId id="2147483692" r:id="rId9"/>
    <p:sldLayoutId id="2147483703" r:id="rId10"/>
    <p:sldLayoutId id="2147483665" r:id="rId11"/>
    <p:sldLayoutId id="2147483693" r:id="rId12"/>
    <p:sldLayoutId id="2147483704" r:id="rId13"/>
    <p:sldLayoutId id="2147483677" r:id="rId14"/>
    <p:sldLayoutId id="2147483696" r:id="rId15"/>
    <p:sldLayoutId id="2147483678" r:id="rId16"/>
    <p:sldLayoutId id="2147483679" r:id="rId17"/>
    <p:sldLayoutId id="2147483684" r:id="rId18"/>
    <p:sldLayoutId id="2147483690" r:id="rId19"/>
    <p:sldLayoutId id="2147483695" r:id="rId20"/>
    <p:sldLayoutId id="2147483697" r:id="rId21"/>
    <p:sldLayoutId id="2147483685" r:id="rId22"/>
    <p:sldLayoutId id="2147483694" r:id="rId23"/>
    <p:sldLayoutId id="2147483681" r:id="rId24"/>
    <p:sldLayoutId id="2147483683" r:id="rId25"/>
    <p:sldLayoutId id="2147483687" r:id="rId26"/>
    <p:sldLayoutId id="2147483686" r:id="rId27"/>
    <p:sldLayoutId id="2147483701" r:id="rId28"/>
    <p:sldLayoutId id="2147483702" r:id="rId2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2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06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3" orient="horz" pos="3206" userDrawn="1">
          <p15:clr>
            <a:srgbClr val="F26B43"/>
          </p15:clr>
        </p15:guide>
        <p15:guide id="4" pos="5465" userDrawn="1">
          <p15:clr>
            <a:srgbClr val="F26B43"/>
          </p15:clr>
        </p15:guide>
        <p15:guide id="5" orient="horz" pos="426" userDrawn="1">
          <p15:clr>
            <a:srgbClr val="F26B43"/>
          </p15:clr>
        </p15:guide>
        <p15:guide id="6" orient="horz" pos="2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886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E39D1-6CAF-4600-A586-A72C893D9FA6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10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Placeholder 13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" b="98"/>
          <a:stretch>
            <a:fillRect/>
          </a:stretch>
        </p:blipFill>
        <p:spPr/>
      </p:pic>
      <p:pic>
        <p:nvPicPr>
          <p:cNvPr id="15" name="Picture Placeholder 14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" b="9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304935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21CAA-6D5C-4E4E-91A3-35145CACF7E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11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" b="5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745497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ECB2EA-8CF5-4B04-A32D-EFB70BFBBABF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3" name="Picture Placeholder 22"/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" r="21"/>
          <a:stretch>
            <a:fillRect/>
          </a:stretch>
        </p:blipFill>
        <p:spPr/>
      </p:pic>
      <p:pic>
        <p:nvPicPr>
          <p:cNvPr id="24" name="Picture Placeholder 23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22" name="Picture Placeholder 21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29117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D0ABD-8DC3-4E60-A9AC-3AE83AA2DB14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1" name="Picture Placeholder 20"/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20" name="Picture Placeholder 19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23" name="Picture Placeholder 22"/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>
            <a:fillRect/>
          </a:stretch>
        </p:blipFill>
        <p:spPr/>
      </p:pic>
      <p:pic>
        <p:nvPicPr>
          <p:cNvPr id="22" name="Picture Placeholder 21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5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9800843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20DA5-D71A-4702-B1A0-264711991389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1" name="Picture Placeholder 20"/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" b="187"/>
          <a:stretch>
            <a:fillRect/>
          </a:stretch>
        </p:blipFill>
        <p:spPr/>
      </p:pic>
      <p:pic>
        <p:nvPicPr>
          <p:cNvPr id="22" name="Picture Placeholder 21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" b="187"/>
          <a:stretch>
            <a:fillRect/>
          </a:stretch>
        </p:blipFill>
        <p:spPr/>
      </p:pic>
      <p:pic>
        <p:nvPicPr>
          <p:cNvPr id="23" name="Picture Placeholder 22"/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" b="187"/>
          <a:stretch>
            <a:fillRect/>
          </a:stretch>
        </p:blipFill>
        <p:spPr/>
      </p:pic>
      <p:pic>
        <p:nvPicPr>
          <p:cNvPr id="20" name="Picture Placeholder 19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" b="18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880210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300AC-06C3-438D-8977-BFEF6F29CEB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15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half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Picture Placeholder 14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" b="106"/>
          <a:stretch>
            <a:fillRect/>
          </a:stretch>
        </p:blipFill>
        <p:spPr/>
      </p:pic>
      <p:pic>
        <p:nvPicPr>
          <p:cNvPr id="16" name="Picture Placeholder 15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" b="10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769939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FBE72-B26B-4ECA-B479-98A54DD90916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half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" name="Picture Placeholder 19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" r="158"/>
          <a:stretch>
            <a:fillRect/>
          </a:stretch>
        </p:blipFill>
        <p:spPr/>
      </p:pic>
      <p:pic>
        <p:nvPicPr>
          <p:cNvPr id="21" name="Picture Placeholder 20"/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" r="158"/>
          <a:stretch>
            <a:fillRect/>
          </a:stretch>
        </p:blipFill>
        <p:spPr/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" r="6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058735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" y="0"/>
            <a:ext cx="9134443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751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xmlns="" id="{34449115-6E49-40A7-ADBC-D57030B262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B7AC7CA-F867-4B40-8BA9-BE5D27CBB4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D7B6138-D023-4DAD-A83E-27EB6D38721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DF5C50C-0CBF-4CF9-9555-DF892D9B7FE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77D7F390-6ABE-4864-90F9-31D71696AD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53411C52-FD64-42FC-8B5F-11A7A3793E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147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0564C74-D5A3-4BAB-853A-B3AC48088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027FA-F6F9-40BF-916C-2E23BFAE3670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25E97A5-F3D0-490C-9D60-885295160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der Präsentation |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F9C9B7F-636C-463B-B9D3-B716833F7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2</a:t>
            </a:fld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B2DA4898-754B-417C-8928-2DD10AFDAD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xmlns="" id="{837A65B0-99A2-4C1E-B72E-9D9E507C3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6" name="Content Placeholder 2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41" y="1598613"/>
            <a:ext cx="8194519" cy="3492500"/>
          </a:xfrm>
        </p:spPr>
      </p:pic>
    </p:spTree>
    <p:extLst>
      <p:ext uri="{BB962C8B-B14F-4D97-AF65-F5344CB8AC3E}">
        <p14:creationId xmlns:p14="http://schemas.microsoft.com/office/powerpoint/2010/main" val="337191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01" y="1597025"/>
            <a:ext cx="5285560" cy="3492500"/>
          </a:xfrm>
        </p:spPr>
      </p:pic>
      <p:pic>
        <p:nvPicPr>
          <p:cNvPr id="12" name="Content Placeholder 11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148" y="1597025"/>
            <a:ext cx="2623766" cy="349250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AB6016-7C21-47CF-81C8-F86C7C19B0B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3</a:t>
            </a:fld>
            <a:endParaRPr lang="de-DE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3498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D7CF8-BC19-4742-8A27-5495E05B7229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4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7" name="Content Placeholder 2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94" y="1597025"/>
            <a:ext cx="3954663" cy="3492500"/>
          </a:xfrm>
        </p:spPr>
      </p:pic>
      <p:pic>
        <p:nvPicPr>
          <p:cNvPr id="28" name="Content Placeholder 27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8744" y="1597025"/>
            <a:ext cx="3954663" cy="3492500"/>
          </a:xfrm>
        </p:spPr>
      </p:pic>
    </p:spTree>
    <p:extLst>
      <p:ext uri="{BB962C8B-B14F-4D97-AF65-F5344CB8AC3E}">
        <p14:creationId xmlns:p14="http://schemas.microsoft.com/office/powerpoint/2010/main" val="4028476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AB6016-7C21-47CF-81C8-F86C7C19B0B8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5</a:t>
            </a:fld>
            <a:endParaRPr lang="de-DE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4" name="Content Placeholder 23"/>
          <p:cNvPicPr>
            <a:picLocks noGrp="1" noChangeAspect="1"/>
          </p:cNvPicPr>
          <p:nvPr>
            <p:ph sz="half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117" y="1597025"/>
            <a:ext cx="2623766" cy="3492500"/>
          </a:xfrm>
        </p:spPr>
      </p:pic>
      <p:pic>
        <p:nvPicPr>
          <p:cNvPr id="22" name="Content Placeholder 21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86" y="1597025"/>
            <a:ext cx="2623766" cy="3492500"/>
          </a:xfrm>
        </p:spPr>
      </p:pic>
      <p:pic>
        <p:nvPicPr>
          <p:cNvPr id="23" name="Content Placeholder 22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148" y="1597025"/>
            <a:ext cx="2623766" cy="3492500"/>
          </a:xfrm>
        </p:spPr>
      </p:pic>
    </p:spTree>
    <p:extLst>
      <p:ext uri="{BB962C8B-B14F-4D97-AF65-F5344CB8AC3E}">
        <p14:creationId xmlns:p14="http://schemas.microsoft.com/office/powerpoint/2010/main" val="16583971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334DE4-3984-4210-B780-252A5B36C41B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6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84" y="1909763"/>
            <a:ext cx="3956282" cy="3179762"/>
          </a:xfrm>
        </p:spPr>
      </p:pic>
      <p:pic>
        <p:nvPicPr>
          <p:cNvPr id="16" name="Content Placeholder 15"/>
          <p:cNvPicPr>
            <a:picLocks noGrp="1" noChangeAspect="1"/>
          </p:cNvPicPr>
          <p:nvPr>
            <p:ph sz="half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934" y="1909763"/>
            <a:ext cx="3956282" cy="3179762"/>
          </a:xfrm>
        </p:spPr>
      </p:pic>
    </p:spTree>
    <p:extLst>
      <p:ext uri="{BB962C8B-B14F-4D97-AF65-F5344CB8AC3E}">
        <p14:creationId xmlns:p14="http://schemas.microsoft.com/office/powerpoint/2010/main" val="3995729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19" y="1909763"/>
            <a:ext cx="5287724" cy="3179762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05A80D-06C6-4291-B261-9D5725F3D8E1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7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Content Placeholder 12"/>
          <p:cNvPicPr>
            <a:picLocks noGrp="1" noChangeAspect="1"/>
          </p:cNvPicPr>
          <p:nvPr>
            <p:ph sz="half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611" y="1909763"/>
            <a:ext cx="2624841" cy="3179762"/>
          </a:xfrm>
        </p:spPr>
      </p:pic>
    </p:spTree>
    <p:extLst>
      <p:ext uri="{BB962C8B-B14F-4D97-AF65-F5344CB8AC3E}">
        <p14:creationId xmlns:p14="http://schemas.microsoft.com/office/powerpoint/2010/main" val="1477273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05A80D-06C6-4291-B261-9D5725F3D8E1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8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" name="Content Placeholder 19"/>
          <p:cNvPicPr>
            <a:picLocks noGrp="1" noChangeAspect="1"/>
          </p:cNvPicPr>
          <p:nvPr>
            <p:ph sz="half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9579" y="1909763"/>
            <a:ext cx="2624841" cy="3179762"/>
          </a:xfrm>
        </p:spPr>
      </p:pic>
      <p:pic>
        <p:nvPicPr>
          <p:cNvPr id="21" name="Content Placeholder 20"/>
          <p:cNvPicPr>
            <a:picLocks noGrp="1" noChangeAspect="1"/>
          </p:cNvPicPr>
          <p:nvPr>
            <p:ph sz="half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611" y="1909763"/>
            <a:ext cx="2624841" cy="3179762"/>
          </a:xfrm>
        </p:spPr>
      </p:pic>
      <p:pic>
        <p:nvPicPr>
          <p:cNvPr id="19" name="Content Placeholder 18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548" y="1909763"/>
            <a:ext cx="2624841" cy="3179762"/>
          </a:xfrm>
        </p:spPr>
      </p:pic>
    </p:spTree>
    <p:extLst>
      <p:ext uri="{BB962C8B-B14F-4D97-AF65-F5344CB8AC3E}">
        <p14:creationId xmlns:p14="http://schemas.microsoft.com/office/powerpoint/2010/main" val="3490302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AC2CB-FA26-401F-B093-3D001A564785}" type="datetime1">
              <a:rPr lang="de-DE" smtClean="0"/>
              <a:t>15.05.201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82CC3C-1DC0-4FDA-9590-6CC506AB67F8}" type="slidenum">
              <a:rPr lang="de-DE" smtClean="0"/>
              <a:t>9</a:t>
            </a:fld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Placeholder 13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" b="106"/>
          <a:stretch>
            <a:fillRect/>
          </a:stretch>
        </p:blipFill>
        <p:spPr/>
      </p:pic>
      <p:pic>
        <p:nvPicPr>
          <p:cNvPr id="15" name="Picture Placeholder 14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" b="10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33894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13582b3-d0ec-4024-8287-9a1e59dcf5c8"/>
</p:tagLst>
</file>

<file path=ppt/theme/theme1.xml><?xml version="1.0" encoding="utf-8"?>
<a:theme xmlns:a="http://schemas.openxmlformats.org/drawingml/2006/main" name="ISW Uni Stuttgart">
  <a:themeElements>
    <a:clrScheme name="US Bright Accent">
      <a:dk1>
        <a:srgbClr val="3E444C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519E"/>
      </a:accent2>
      <a:accent3>
        <a:srgbClr val="3E444C"/>
      </a:accent3>
      <a:accent4>
        <a:srgbClr val="7DC6EA"/>
      </a:accent4>
      <a:accent5>
        <a:srgbClr val="9F999A"/>
      </a:accent5>
      <a:accent6>
        <a:srgbClr val="FFD500"/>
      </a:accent6>
      <a:hlink>
        <a:srgbClr val="00BEFF"/>
      </a:hlink>
      <a:folHlink>
        <a:srgbClr val="3E444C"/>
      </a:folHlink>
    </a:clrScheme>
    <a:fontScheme name="Universitaet_Stuttgart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prstClr val="black"/>
          </a:solidFill>
        </a:ln>
      </a:spPr>
      <a:bodyPr rot="0" spcFirstLastPara="0" vertOverflow="overflow" horzOverflow="overflow" vert="horz" wrap="none" lIns="0" tIns="114300" rIns="0" bIns="1143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buAutoNum type="arabicPeriod"/>
          <a:defRPr sz="2400" smtClean="0">
            <a:solidFill>
              <a:schemeClr val="tx1">
                <a:lumMod val="100000"/>
              </a:schemeClr>
            </a:solidFill>
            <a:latin typeface="Arial (Headings)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spcCol="288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SW.potx" id="{00FF278D-F3F0-48AB-BCCA-469DCEF11EC9}" vid="{B4308DF2-DF25-4448-9122-5A7FC32AFAB4}"/>
    </a:ext>
  </a:extLst>
</a:theme>
</file>

<file path=ppt/theme/theme2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Universität Stuttgart Version 2">
      <a:dk1>
        <a:srgbClr val="323232"/>
      </a:dk1>
      <a:lt1>
        <a:sysClr val="window" lastClr="FFFFFF"/>
      </a:lt1>
      <a:dk2>
        <a:srgbClr val="000000"/>
      </a:dk2>
      <a:lt2>
        <a:srgbClr val="9F9998"/>
      </a:lt2>
      <a:accent1>
        <a:srgbClr val="00BEFF"/>
      </a:accent1>
      <a:accent2>
        <a:srgbClr val="004191"/>
      </a:accent2>
      <a:accent3>
        <a:srgbClr val="323232"/>
      </a:accent3>
      <a:accent4>
        <a:srgbClr val="7DC6EA"/>
      </a:accent4>
      <a:accent5>
        <a:srgbClr val="9F9998"/>
      </a:accent5>
      <a:accent6>
        <a:srgbClr val="FFD500"/>
      </a:accent6>
      <a:hlink>
        <a:srgbClr val="00BEFF"/>
      </a:hlink>
      <a:folHlink>
        <a:srgbClr val="524D4D"/>
      </a:folHlink>
    </a:clrScheme>
    <a:fontScheme name="Universität Stuttg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W</Template>
  <TotalTime>0</TotalTime>
  <Words>105</Words>
  <Application>Microsoft Office PowerPoint</Application>
  <PresentationFormat>On-screen Show (16:10)</PresentationFormat>
  <Paragraphs>45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Arial</vt:lpstr>
      <vt:lpstr>ISW Uni Stuttg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15T12:45:49Z</dcterms:created>
  <dcterms:modified xsi:type="dcterms:W3CDTF">2018-05-15T14:37:30Z</dcterms:modified>
</cp:coreProperties>
</file>